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423" r:id="rId5"/>
    <p:sldId id="383" r:id="rId6"/>
    <p:sldId id="381" r:id="rId7"/>
    <p:sldId id="477" r:id="rId8"/>
    <p:sldId id="478" r:id="rId9"/>
    <p:sldId id="309" r:id="rId10"/>
    <p:sldId id="424" r:id="rId11"/>
    <p:sldId id="340" r:id="rId12"/>
    <p:sldId id="463" r:id="rId13"/>
    <p:sldId id="364" r:id="rId14"/>
    <p:sldId id="479" r:id="rId15"/>
    <p:sldId id="448" r:id="rId16"/>
    <p:sldId id="403" r:id="rId17"/>
    <p:sldId id="472" r:id="rId18"/>
    <p:sldId id="473" r:id="rId19"/>
    <p:sldId id="419" r:id="rId20"/>
    <p:sldId id="418" r:id="rId21"/>
    <p:sldId id="384" r:id="rId2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4" d="100"/>
          <a:sy n="64" d="100"/>
        </p:scale>
        <p:origin x="84" y="264"/>
      </p:cViewPr>
      <p:guideLst>
        <p:guide orient="horz" pos="2194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5" Type="http://schemas.openxmlformats.org/officeDocument/2006/relationships/tableStyles" Target="tableStyles.xml"/><Relationship Id="rId24" Type="http://schemas.openxmlformats.org/officeDocument/2006/relationships/viewProps" Target="viewProps.xml"/><Relationship Id="rId23" Type="http://schemas.openxmlformats.org/officeDocument/2006/relationships/presProps" Target="presProps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45.xml"/><Relationship Id="rId7" Type="http://schemas.openxmlformats.org/officeDocument/2006/relationships/image" Target="../media/image8.png"/><Relationship Id="rId6" Type="http://schemas.openxmlformats.org/officeDocument/2006/relationships/image" Target="../media/image3.png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0" Type="http://schemas.openxmlformats.org/officeDocument/2006/relationships/notesSlide" Target="../notesSlides/notesSlide11.xml"/><Relationship Id="rId1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51.xml"/><Relationship Id="rId7" Type="http://schemas.openxmlformats.org/officeDocument/2006/relationships/image" Target="../media/image9.png"/><Relationship Id="rId6" Type="http://schemas.openxmlformats.org/officeDocument/2006/relationships/image" Target="../media/image3.png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0" Type="http://schemas.openxmlformats.org/officeDocument/2006/relationships/notesSlide" Target="../notesSlides/notesSlide12.xml"/><Relationship Id="rId1" Type="http://schemas.openxmlformats.org/officeDocument/2006/relationships/tags" Target="../tags/tag4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.xml"/><Relationship Id="rId8" Type="http://schemas.openxmlformats.org/officeDocument/2006/relationships/image" Target="../media/image12.png"/><Relationship Id="rId7" Type="http://schemas.openxmlformats.org/officeDocument/2006/relationships/image" Target="../media/image11.png"/><Relationship Id="rId6" Type="http://schemas.openxmlformats.org/officeDocument/2006/relationships/image" Target="../media/image10.png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4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67.xml"/><Relationship Id="rId6" Type="http://schemas.openxmlformats.org/officeDocument/2006/relationships/image" Target="../media/image3.png"/><Relationship Id="rId5" Type="http://schemas.openxmlformats.org/officeDocument/2006/relationships/tags" Target="../tags/tag66.xml"/><Relationship Id="rId4" Type="http://schemas.openxmlformats.org/officeDocument/2006/relationships/tags" Target="../tags/tag65.xml"/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14.png"/><Relationship Id="rId7" Type="http://schemas.openxmlformats.org/officeDocument/2006/relationships/image" Target="../media/image13.png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0" Type="http://schemas.openxmlformats.org/officeDocument/2006/relationships/notesSlide" Target="../notesSlides/notesSlide15.xml"/><Relationship Id="rId1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80.xml"/><Relationship Id="rId8" Type="http://schemas.openxmlformats.org/officeDocument/2006/relationships/tags" Target="../tags/tag79.xml"/><Relationship Id="rId7" Type="http://schemas.openxmlformats.org/officeDocument/2006/relationships/image" Target="../media/image3.png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4" Type="http://schemas.openxmlformats.org/officeDocument/2006/relationships/tags" Target="../tags/tag76.xml"/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1" Type="http://schemas.openxmlformats.org/officeDocument/2006/relationships/notesSlide" Target="../notesSlides/notesSlide17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73.xml"/></Relationships>
</file>

<file path=ppt/slides/_rels/slide1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8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19.xml"/><Relationship Id="rId8" Type="http://schemas.openxmlformats.org/officeDocument/2006/relationships/tags" Target="../tags/tag18.xml"/><Relationship Id="rId7" Type="http://schemas.openxmlformats.org/officeDocument/2006/relationships/tags" Target="../tags/tag17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1" Type="http://schemas.openxmlformats.org/officeDocument/2006/relationships/notesSlide" Target="../notesSlides/notesSlide5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image" Target="../media/image6.png"/><Relationship Id="rId8" Type="http://schemas.openxmlformats.org/officeDocument/2006/relationships/image" Target="../media/image5.png"/><Relationship Id="rId7" Type="http://schemas.openxmlformats.org/officeDocument/2006/relationships/image" Target="../media/image4.png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1" Type="http://schemas.openxmlformats.org/officeDocument/2006/relationships/notesSlide" Target="../notesSlides/notesSlide7.xml"/><Relationship Id="rId10" Type="http://schemas.openxmlformats.org/officeDocument/2006/relationships/slideLayout" Target="../slideLayouts/slideLayout6.xml"/><Relationship Id="rId1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9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7.png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塔卡       时间：</a:t>
            </a:r>
            <a:r>
              <a:rPr lang="en-US" altLang="zh-CN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册自定义过滤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1565275" y="1520825"/>
            <a:ext cx="9193530" cy="435229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.template.Library.filter()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Library.filter()方法需要两个参数：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a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 过滤器的名称（一个字符串对象）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	b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 编译的函数 – 一个Python函数（不要把函数名写成字符串</a:t>
            </a:r>
            <a:r>
              <a:rPr lang="zh-CN" altLang="en-US"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）</a:t>
            </a:r>
            <a:endParaRPr lang="zh-CN" altLang="en-US" sz="200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可以把register.filter()用作装饰器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;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.没有声明 name 参数，Django将使用函数名作为过滤器的名字。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48510" y="1548130"/>
            <a:ext cx="6699885" cy="3761740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注册自定义过滤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476250" y="342616"/>
            <a:ext cx="11239500" cy="968375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使用自定义过滤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929765" y="1311275"/>
            <a:ext cx="663130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 anchor="t">
            <a:spAutoFit/>
          </a:bodyPr>
          <a:lstStyle/>
          <a:p>
            <a:r>
              <a:rPr lang="zh-CN" altLang="en-US"/>
              <a:t>在模板中使用自定义的过滤器</a:t>
            </a:r>
            <a:endParaRPr lang="zh-CN" altLang="en-US"/>
          </a:p>
          <a:p>
            <a:r>
              <a:rPr lang="zh-CN" altLang="en-US"/>
              <a:t>需要使用</a:t>
            </a:r>
            <a:r>
              <a:rPr lang="en-US" altLang="zh-CN"/>
              <a:t>{% load %}标签</a:t>
            </a:r>
            <a:r>
              <a:rPr lang="zh-CN" altLang="en-US"/>
              <a:t>将我们的自定义模块加载进来</a:t>
            </a:r>
            <a:endParaRPr lang="zh-CN" altLang="en-US"/>
          </a:p>
          <a:p>
            <a:r>
              <a:rPr lang="zh-CN" altLang="en-US"/>
              <a:t>{% load %} 声明将会载入给定模块名中的标签/过滤器</a:t>
            </a:r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7690" y="2552700"/>
            <a:ext cx="5990590" cy="3437890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自定义标签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1813560" y="1311275"/>
            <a:ext cx="7957185" cy="200977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简单标签django.template.Library.simple_tag()</a:t>
            </a:r>
            <a:endParaRPr lang="zh-CN" altLang="en-US" sz="20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包含标签django.template.Library.inclusion_tag()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813560" y="3321050"/>
            <a:ext cx="7957185" cy="266382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ag()方法有两个参数：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模板标记的名称 - 字符串。 如果省略，将使用编译函数的名称。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编译的函数 – 一个Python函数（不要把函数名写成字符串）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与过滤器注册一样，也可以将其用作装饰器。</a:t>
            </a:r>
            <a:endParaRPr lang="en-US" altLang="zh-CN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自定义简单标签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709930" y="1713230"/>
            <a:ext cx="54813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定义一个显示当前时间的简单标签</a:t>
            </a:r>
            <a:r>
              <a:rPr lang="en-US" altLang="zh-CN" sz="1800" dirty="0"/>
              <a:t>,</a:t>
            </a:r>
            <a:r>
              <a:rPr lang="zh-CN" altLang="en-US" sz="1800" dirty="0"/>
              <a:t>需传入时间格式</a:t>
            </a:r>
            <a:endParaRPr lang="zh-CN" altLang="en-US" sz="1800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9930" y="2081530"/>
            <a:ext cx="5480685" cy="140208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709295" y="3907155"/>
            <a:ext cx="5480050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注册标签时使用takes_context 参数,</a:t>
            </a:r>
            <a:r>
              <a:rPr lang="zh-CN" altLang="en-US" sz="1800" dirty="0"/>
              <a:t>则可以使用从上下文中传入的参数</a:t>
            </a:r>
            <a:r>
              <a:rPr lang="en-US" altLang="zh-CN" sz="1800" dirty="0"/>
              <a:t>.</a:t>
            </a:r>
            <a:endParaRPr lang="zh-CN" altLang="en-US" sz="1800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9295" y="4552315"/>
            <a:ext cx="5481320" cy="1314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6569075" y="1574165"/>
            <a:ext cx="510095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3.</a:t>
            </a:r>
            <a:r>
              <a:rPr lang="zh-CN" altLang="en-US" sz="1800" dirty="0"/>
              <a:t>模板中使用自定义的标签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9075" y="1942465"/>
            <a:ext cx="5100320" cy="39243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自定义包含标签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文本框 3"/>
          <p:cNvSpPr txBox="1"/>
          <p:nvPr/>
        </p:nvSpPr>
        <p:spPr>
          <a:xfrm>
            <a:off x="1193800" y="1986915"/>
            <a:ext cx="7975600" cy="398780"/>
          </a:xfrm>
          <a:prstGeom prst="rect">
            <a:avLst/>
          </a:prstGeom>
          <a:solidFill>
            <a:srgbClr val="5BA78C"/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>
                <a:solidFill>
                  <a:schemeClr val="bg1"/>
                </a:solidFill>
              </a:rPr>
              <a:t>包含标签的功能是可以通过渲染另外一个模板来显示一些数据</a:t>
            </a:r>
            <a:endParaRPr lang="zh-CN" altLang="en-US" sz="2000">
              <a:solidFill>
                <a:schemeClr val="bg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193800" y="2385695"/>
            <a:ext cx="7975600" cy="255333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例如很多地方都可能会用到下面这几行代码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除了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hoices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这个变量不一样之外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其他的都是格式都一样时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那么我们就可以把这部分代码封装在一个包含标签中</a:t>
            </a:r>
            <a:r>
              <a:rPr lang="en-US" altLang="zh-CN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&lt;ul&gt;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  {% for i in choices %}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      &lt;li&gt;{{ i }}&lt;/li&gt;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  {% endfor %}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zh-CN" altLang="en-US" sz="20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&lt;/ul&gt;</a:t>
            </a:r>
            <a:endParaRPr lang="zh-CN" altLang="en-US" sz="20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76250" y="223871"/>
            <a:ext cx="11239500" cy="968375"/>
          </a:xfrm>
        </p:spPr>
        <p:txBody>
          <a:bodyPr/>
          <a:lstStyle/>
          <a:p>
            <a:r>
              <a:rPr lang="zh-CN" altLang="en-US"/>
              <a:t>自定义包含标签的例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7" name="文本框 6"/>
          <p:cNvSpPr txBox="1"/>
          <p:nvPr/>
        </p:nvSpPr>
        <p:spPr>
          <a:xfrm>
            <a:off x="1300480" y="1192530"/>
            <a:ext cx="6049645" cy="368300"/>
          </a:xfrm>
          <a:prstGeom prst="rect">
            <a:avLst/>
          </a:prstGeom>
          <a:solidFill>
            <a:srgbClr val="3F53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solidFill>
                  <a:schemeClr val="bg1"/>
                </a:solidFill>
              </a:rPr>
              <a:t>1.</a:t>
            </a:r>
            <a:r>
              <a:rPr lang="zh-CN" altLang="en-US" sz="1800" dirty="0">
                <a:solidFill>
                  <a:schemeClr val="bg1"/>
                </a:solidFill>
              </a:rPr>
              <a:t>定义一个名为</a:t>
            </a:r>
            <a:r>
              <a:rPr lang="en-US" altLang="zh-CN" sz="1800" dirty="0">
                <a:solidFill>
                  <a:schemeClr val="bg1"/>
                </a:solidFill>
              </a:rPr>
              <a:t>show_tag.html</a:t>
            </a:r>
            <a:r>
              <a:rPr lang="zh-CN" altLang="en-US" sz="1800" dirty="0">
                <a:solidFill>
                  <a:schemeClr val="bg1"/>
                </a:solidFill>
              </a:rPr>
              <a:t>文件来存放功能代码</a:t>
            </a:r>
            <a:r>
              <a:rPr lang="en-US" altLang="zh-CN" sz="1800" dirty="0">
                <a:solidFill>
                  <a:schemeClr val="bg1"/>
                </a:solidFill>
              </a:rPr>
              <a:t>.</a:t>
            </a:r>
            <a:endParaRPr lang="en-US" altLang="zh-CN" sz="1800" dirty="0">
              <a:solidFill>
                <a:schemeClr val="bg1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00480" y="1560830"/>
            <a:ext cx="6049645" cy="200533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300480" y="3964940"/>
            <a:ext cx="6049645" cy="368300"/>
          </a:xfrm>
          <a:prstGeom prst="rect">
            <a:avLst/>
          </a:prstGeom>
          <a:solidFill>
            <a:srgbClr val="3F5361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solidFill>
                  <a:schemeClr val="bg1"/>
                </a:solidFill>
              </a:rPr>
              <a:t>2.</a:t>
            </a:r>
            <a:r>
              <a:rPr lang="zh-CN" altLang="en-US" sz="1800" dirty="0">
                <a:solidFill>
                  <a:schemeClr val="bg1"/>
                </a:solidFill>
              </a:rPr>
              <a:t>定义包含标签</a:t>
            </a:r>
            <a:r>
              <a:rPr lang="en-US" altLang="zh-CN" sz="1800" dirty="0">
                <a:solidFill>
                  <a:schemeClr val="bg1"/>
                </a:solidFill>
              </a:rPr>
              <a:t>.</a:t>
            </a:r>
            <a:endParaRPr lang="en-US" altLang="zh-CN" sz="1800" dirty="0">
              <a:solidFill>
                <a:schemeClr val="bg1"/>
              </a:solidFill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00480" y="4333240"/>
            <a:ext cx="6141720" cy="1315720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6485890" y="3032125"/>
            <a:ext cx="4698365" cy="1113155"/>
          </a:xfrm>
          <a:prstGeom prst="wedgeEllipseCallout">
            <a:avLst>
              <a:gd name="adj1" fmla="val -58947"/>
              <a:gd name="adj2" fmla="val 7302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这里传入的是我们显示数据的模板文件路径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5" name=" 227"/>
          <p:cNvSpPr/>
          <p:nvPr/>
        </p:nvSpPr>
        <p:spPr>
          <a:xfrm rot="20580000" flipV="1">
            <a:off x="4069080" y="5407660"/>
            <a:ext cx="2506345" cy="1306830"/>
          </a:xfrm>
          <a:prstGeom prst="wedgeEllipseCallout">
            <a:avLst>
              <a:gd name="adj1" fmla="val -40667"/>
              <a:gd name="adj2" fmla="val 69219"/>
            </a:avLst>
          </a:pr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4544695" y="5765800"/>
            <a:ext cx="15544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</a:rPr>
              <a:t>这里返回的</a:t>
            </a:r>
            <a:endParaRPr lang="zh-CN" altLang="en-US">
              <a:solidFill>
                <a:schemeClr val="bg1"/>
              </a:solidFill>
            </a:endParaRPr>
          </a:p>
          <a:p>
            <a:r>
              <a:rPr lang="zh-CN" altLang="en-US">
                <a:solidFill>
                  <a:schemeClr val="bg1"/>
                </a:solidFill>
              </a:rPr>
              <a:t>是个字典对象</a:t>
            </a:r>
            <a:endParaRPr lang="zh-CN" altLang="en-US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MH_SubTitle_3"/>
          <p:cNvSpPr/>
          <p:nvPr/>
        </p:nvSpPr>
        <p:spPr>
          <a:xfrm>
            <a:off x="3274060" y="2416810"/>
            <a:ext cx="1617980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定义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1052920" y="241692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设置文件的路径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8716468" y="3540966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MH_SubTitle_3"/>
          <p:cNvSpPr/>
          <p:nvPr/>
        </p:nvSpPr>
        <p:spPr>
          <a:xfrm>
            <a:off x="5489575" y="2416810"/>
            <a:ext cx="1701165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注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5" name="MH_SubTitle_1"/>
          <p:cNvSpPr/>
          <p:nvPr/>
        </p:nvSpPr>
        <p:spPr>
          <a:xfrm>
            <a:off x="7696290" y="233310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使用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rgbClr val="E9737E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9737E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115581" y="2638215"/>
            <a:ext cx="5133975" cy="17532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 sz="2400" dirty="0"/>
              <a:t>熟悉下自定义的过滤器及标签的过程</a:t>
            </a:r>
            <a:r>
              <a:rPr lang="en-US" altLang="zh-CN" sz="2400" dirty="0"/>
              <a:t>.</a:t>
            </a:r>
            <a:endParaRPr lang="zh-CN" altLang="en-US" sz="2400" dirty="0"/>
          </a:p>
          <a:p>
            <a:pPr algn="l" fontAlgn="auto">
              <a:lnSpc>
                <a:spcPct val="150000"/>
              </a:lnSpc>
            </a:pPr>
            <a:r>
              <a:rPr lang="zh-CN" altLang="en-US" sz="2400" dirty="0">
                <a:sym typeface="+mn-ea"/>
              </a:rPr>
              <a:t>将课堂上的例子自己敲一遍</a:t>
            </a:r>
            <a:r>
              <a:rPr lang="en-US" altLang="zh-CN" sz="2400" dirty="0">
                <a:sym typeface="+mn-ea"/>
              </a:rPr>
              <a:t>.</a:t>
            </a:r>
            <a:endParaRPr lang="en-US" altLang="zh-CN" sz="2400" dirty="0"/>
          </a:p>
          <a:p>
            <a:pPr algn="l" fontAlgn="auto">
              <a:lnSpc>
                <a:spcPct val="150000"/>
              </a:lnSpc>
            </a:pPr>
            <a:endParaRPr lang="en-US" altLang="zh-CN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235372" y="2039494"/>
            <a:ext cx="0" cy="2879946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4929378" y="1683033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929378" y="2643015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4929378" y="3602997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4929379" y="4562978"/>
            <a:ext cx="611989" cy="611989"/>
            <a:chOff x="3694450" y="3813702"/>
            <a:chExt cx="612068" cy="612068"/>
          </a:xfrm>
          <a:solidFill>
            <a:srgbClr val="E76861"/>
          </a:solidFill>
        </p:grpSpPr>
        <p:sp>
          <p:nvSpPr>
            <p:cNvPr id="30" name="椭圆 29"/>
            <p:cNvSpPr/>
            <p:nvPr/>
          </p:nvSpPr>
          <p:spPr>
            <a:xfrm>
              <a:off x="3694450" y="3813702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31" name="TextBox 59"/>
            <p:cNvSpPr txBox="1"/>
            <p:nvPr/>
          </p:nvSpPr>
          <p:spPr>
            <a:xfrm>
              <a:off x="3797516" y="3965847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4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" name="矩形 31"/>
          <p:cNvSpPr/>
          <p:nvPr/>
        </p:nvSpPr>
        <p:spPr>
          <a:xfrm>
            <a:off x="5704840" y="4700905"/>
            <a:ext cx="218884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静态文件加载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5704840" y="3755390"/>
            <a:ext cx="28206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模板的继承与引用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704557" y="2795521"/>
            <a:ext cx="155735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rl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面跳转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704740" y="1834833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条件循环语句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7040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自定义过滤器及标签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关于自定义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自定义过滤器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文件路径配置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自定义标签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476250" y="249906"/>
            <a:ext cx="11239500" cy="968375"/>
          </a:xfrm>
        </p:spPr>
        <p:txBody>
          <a:bodyPr/>
          <a:lstStyle/>
          <a:p>
            <a:r>
              <a:rPr lang="zh-CN" altLang="en-US"/>
              <a:t>自定义的引入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2" name="同侧圆角矩形 1"/>
          <p:cNvSpPr/>
          <p:nvPr/>
        </p:nvSpPr>
        <p:spPr>
          <a:xfrm>
            <a:off x="3099435" y="1548130"/>
            <a:ext cx="146050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内置函数</a:t>
            </a:r>
            <a:endParaRPr lang="zh-CN" altLang="en-US" b="1"/>
          </a:p>
        </p:txBody>
      </p:sp>
      <p:sp>
        <p:nvSpPr>
          <p:cNvPr id="3" name="同侧圆角矩形 2"/>
          <p:cNvSpPr/>
          <p:nvPr/>
        </p:nvSpPr>
        <p:spPr>
          <a:xfrm>
            <a:off x="5819775" y="1548130"/>
            <a:ext cx="217106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自定义函数</a:t>
            </a:r>
            <a:endParaRPr lang="zh-CN" altLang="en-US" b="1"/>
          </a:p>
        </p:txBody>
      </p:sp>
      <p:sp>
        <p:nvSpPr>
          <p:cNvPr id="4" name="同侧圆角矩形 3"/>
          <p:cNvSpPr/>
          <p:nvPr/>
        </p:nvSpPr>
        <p:spPr>
          <a:xfrm>
            <a:off x="3099435" y="2555240"/>
            <a:ext cx="146050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内置模块</a:t>
            </a:r>
            <a:endParaRPr lang="zh-CN" altLang="en-US" b="1"/>
          </a:p>
        </p:txBody>
      </p:sp>
      <p:sp>
        <p:nvSpPr>
          <p:cNvPr id="5" name="同侧圆角矩形 4"/>
          <p:cNvSpPr/>
          <p:nvPr/>
        </p:nvSpPr>
        <p:spPr>
          <a:xfrm>
            <a:off x="5819775" y="2555240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自定义模块</a:t>
            </a:r>
            <a:endParaRPr lang="zh-CN" altLang="en-US" b="1"/>
          </a:p>
        </p:txBody>
      </p:sp>
      <p:sp>
        <p:nvSpPr>
          <p:cNvPr id="6" name="同侧圆角矩形 5"/>
          <p:cNvSpPr/>
          <p:nvPr/>
        </p:nvSpPr>
        <p:spPr>
          <a:xfrm>
            <a:off x="3099435" y="3577590"/>
            <a:ext cx="146050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内置过滤器</a:t>
            </a:r>
            <a:endParaRPr lang="zh-CN" altLang="en-US" b="1"/>
          </a:p>
        </p:txBody>
      </p:sp>
      <p:sp>
        <p:nvSpPr>
          <p:cNvPr id="7" name="同侧圆角矩形 6"/>
          <p:cNvSpPr/>
          <p:nvPr/>
        </p:nvSpPr>
        <p:spPr>
          <a:xfrm>
            <a:off x="5819775" y="3577590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自定义过滤器</a:t>
            </a:r>
            <a:endParaRPr lang="zh-CN" altLang="en-US" b="1"/>
          </a:p>
        </p:txBody>
      </p:sp>
      <p:sp>
        <p:nvSpPr>
          <p:cNvPr id="8" name="同侧圆角矩形 7"/>
          <p:cNvSpPr/>
          <p:nvPr/>
        </p:nvSpPr>
        <p:spPr>
          <a:xfrm>
            <a:off x="3099435" y="4547235"/>
            <a:ext cx="1460500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内置标签</a:t>
            </a:r>
            <a:endParaRPr lang="zh-CN" altLang="en-US" b="1"/>
          </a:p>
        </p:txBody>
      </p:sp>
      <p:sp>
        <p:nvSpPr>
          <p:cNvPr id="10" name="同侧圆角矩形 9"/>
          <p:cNvSpPr/>
          <p:nvPr/>
        </p:nvSpPr>
        <p:spPr>
          <a:xfrm>
            <a:off x="5819775" y="4547235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自定义标签</a:t>
            </a:r>
            <a:endParaRPr lang="zh-CN" altLang="en-US" b="1"/>
          </a:p>
        </p:txBody>
      </p:sp>
      <p:sp>
        <p:nvSpPr>
          <p:cNvPr id="11" name="燕尾形箭头 10"/>
          <p:cNvSpPr/>
          <p:nvPr/>
        </p:nvSpPr>
        <p:spPr>
          <a:xfrm>
            <a:off x="4731385" y="166497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燕尾形箭头 11"/>
          <p:cNvSpPr/>
          <p:nvPr/>
        </p:nvSpPr>
        <p:spPr>
          <a:xfrm>
            <a:off x="4731385" y="272605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燕尾形箭头 12"/>
          <p:cNvSpPr/>
          <p:nvPr/>
        </p:nvSpPr>
        <p:spPr>
          <a:xfrm>
            <a:off x="4731385" y="384048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燕尾形箭头 13"/>
          <p:cNvSpPr/>
          <p:nvPr/>
        </p:nvSpPr>
        <p:spPr>
          <a:xfrm>
            <a:off x="4731385" y="488950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MH_SubTitle_1"/>
          <p:cNvSpPr/>
          <p:nvPr>
            <p:custDataLst>
              <p:tags r:id="rId1"/>
            </p:custDataLst>
          </p:nvPr>
        </p:nvSpPr>
        <p:spPr>
          <a:xfrm>
            <a:off x="4708526" y="2308228"/>
            <a:ext cx="1425575" cy="1427163"/>
          </a:xfrm>
          <a:custGeom>
            <a:avLst/>
            <a:gdLst>
              <a:gd name="connsiteX0" fmla="*/ 713459 w 1426918"/>
              <a:gd name="connsiteY0" fmla="*/ 0 h 1426918"/>
              <a:gd name="connsiteX1" fmla="*/ 713459 w 1426918"/>
              <a:gd name="connsiteY1" fmla="*/ 1 h 1426918"/>
              <a:gd name="connsiteX2" fmla="*/ 1426918 w 1426918"/>
              <a:gd name="connsiteY2" fmla="*/ 713460 h 1426918"/>
              <a:gd name="connsiteX3" fmla="*/ 1426918 w 1426918"/>
              <a:gd name="connsiteY3" fmla="*/ 1426918 h 1426918"/>
              <a:gd name="connsiteX4" fmla="*/ 713459 w 1426918"/>
              <a:gd name="connsiteY4" fmla="*/ 1426918 h 1426918"/>
              <a:gd name="connsiteX5" fmla="*/ 0 w 1426918"/>
              <a:gd name="connsiteY5" fmla="*/ 713459 h 1426918"/>
              <a:gd name="connsiteX6" fmla="*/ 713459 w 1426918"/>
              <a:gd name="connsiteY6" fmla="*/ 0 h 142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6918" h="1426918">
                <a:moveTo>
                  <a:pt x="713459" y="0"/>
                </a:moveTo>
                <a:lnTo>
                  <a:pt x="713459" y="1"/>
                </a:lnTo>
                <a:cubicBezTo>
                  <a:pt x="1107492" y="1"/>
                  <a:pt x="1426918" y="319427"/>
                  <a:pt x="1426918" y="713460"/>
                </a:cubicBezTo>
                <a:lnTo>
                  <a:pt x="1426918" y="1426918"/>
                </a:lnTo>
                <a:lnTo>
                  <a:pt x="713459" y="1426918"/>
                </a:lnTo>
                <a:cubicBezTo>
                  <a:pt x="319426" y="1426918"/>
                  <a:pt x="0" y="1107492"/>
                  <a:pt x="0" y="713459"/>
                </a:cubicBezTo>
                <a:cubicBezTo>
                  <a:pt x="0" y="319426"/>
                  <a:pt x="319426" y="0"/>
                  <a:pt x="71345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dirty="0">
                <a:solidFill>
                  <a:srgbClr val="FFFFFF"/>
                </a:solidFill>
                <a:cs typeface="Times New Roman" panose="02020603050405020304" pitchFamily="18" charset="0"/>
              </a:rPr>
              <a:t>what</a:t>
            </a:r>
            <a:endParaRPr lang="en-US" altLang="zh-CN" sz="3600" b="1" dirty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  <p:sp>
        <p:nvSpPr>
          <p:cNvPr id="33" name="MH_SubTitle_2"/>
          <p:cNvSpPr/>
          <p:nvPr>
            <p:custDataLst>
              <p:tags r:id="rId2"/>
            </p:custDataLst>
          </p:nvPr>
        </p:nvSpPr>
        <p:spPr>
          <a:xfrm>
            <a:off x="6134101" y="2308228"/>
            <a:ext cx="1427163" cy="1427163"/>
          </a:xfrm>
          <a:custGeom>
            <a:avLst/>
            <a:gdLst>
              <a:gd name="connsiteX0" fmla="*/ 713459 w 1426918"/>
              <a:gd name="connsiteY0" fmla="*/ 0 h 1426918"/>
              <a:gd name="connsiteX1" fmla="*/ 1426918 w 1426918"/>
              <a:gd name="connsiteY1" fmla="*/ 713459 h 1426918"/>
              <a:gd name="connsiteX2" fmla="*/ 1426917 w 1426918"/>
              <a:gd name="connsiteY2" fmla="*/ 713459 h 1426918"/>
              <a:gd name="connsiteX3" fmla="*/ 713458 w 1426918"/>
              <a:gd name="connsiteY3" fmla="*/ 1426918 h 1426918"/>
              <a:gd name="connsiteX4" fmla="*/ 0 w 1426918"/>
              <a:gd name="connsiteY4" fmla="*/ 1426918 h 1426918"/>
              <a:gd name="connsiteX5" fmla="*/ 0 w 1426918"/>
              <a:gd name="connsiteY5" fmla="*/ 713459 h 1426918"/>
              <a:gd name="connsiteX6" fmla="*/ 713459 w 1426918"/>
              <a:gd name="connsiteY6" fmla="*/ 0 h 142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6918" h="1426918">
                <a:moveTo>
                  <a:pt x="713459" y="0"/>
                </a:moveTo>
                <a:cubicBezTo>
                  <a:pt x="1107492" y="0"/>
                  <a:pt x="1426918" y="319426"/>
                  <a:pt x="1426918" y="713459"/>
                </a:cubicBezTo>
                <a:lnTo>
                  <a:pt x="1426917" y="713459"/>
                </a:lnTo>
                <a:cubicBezTo>
                  <a:pt x="1426917" y="1107492"/>
                  <a:pt x="1107491" y="1426918"/>
                  <a:pt x="713458" y="1426918"/>
                </a:cubicBezTo>
                <a:lnTo>
                  <a:pt x="0" y="1426918"/>
                </a:lnTo>
                <a:lnTo>
                  <a:pt x="0" y="713459"/>
                </a:lnTo>
                <a:cubicBezTo>
                  <a:pt x="0" y="319426"/>
                  <a:pt x="319426" y="0"/>
                  <a:pt x="71345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dirty="0">
                <a:solidFill>
                  <a:srgbClr val="FFFFFF"/>
                </a:solidFill>
                <a:cs typeface="Times New Roman" panose="02020603050405020304" pitchFamily="18" charset="0"/>
              </a:rPr>
              <a:t>where</a:t>
            </a:r>
            <a:endParaRPr lang="en-US" altLang="zh-CN" sz="3600" b="1" dirty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  <p:sp>
        <p:nvSpPr>
          <p:cNvPr id="38" name="MH_SubTitle_3"/>
          <p:cNvSpPr/>
          <p:nvPr>
            <p:custDataLst>
              <p:tags r:id="rId3"/>
            </p:custDataLst>
          </p:nvPr>
        </p:nvSpPr>
        <p:spPr>
          <a:xfrm>
            <a:off x="4708526" y="3735390"/>
            <a:ext cx="1425575" cy="1427162"/>
          </a:xfrm>
          <a:custGeom>
            <a:avLst/>
            <a:gdLst>
              <a:gd name="connsiteX0" fmla="*/ 713460 w 1426918"/>
              <a:gd name="connsiteY0" fmla="*/ 0 h 1426918"/>
              <a:gd name="connsiteX1" fmla="*/ 1426918 w 1426918"/>
              <a:gd name="connsiteY1" fmla="*/ 0 h 1426918"/>
              <a:gd name="connsiteX2" fmla="*/ 1426918 w 1426918"/>
              <a:gd name="connsiteY2" fmla="*/ 713459 h 1426918"/>
              <a:gd name="connsiteX3" fmla="*/ 713459 w 1426918"/>
              <a:gd name="connsiteY3" fmla="*/ 1426918 h 1426918"/>
              <a:gd name="connsiteX4" fmla="*/ 0 w 1426918"/>
              <a:gd name="connsiteY4" fmla="*/ 713459 h 1426918"/>
              <a:gd name="connsiteX5" fmla="*/ 1 w 1426918"/>
              <a:gd name="connsiteY5" fmla="*/ 713459 h 1426918"/>
              <a:gd name="connsiteX6" fmla="*/ 713460 w 1426918"/>
              <a:gd name="connsiteY6" fmla="*/ 0 h 142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6918" h="1426918">
                <a:moveTo>
                  <a:pt x="713460" y="0"/>
                </a:moveTo>
                <a:lnTo>
                  <a:pt x="1426918" y="0"/>
                </a:lnTo>
                <a:lnTo>
                  <a:pt x="1426918" y="713459"/>
                </a:lnTo>
                <a:cubicBezTo>
                  <a:pt x="1426918" y="1107492"/>
                  <a:pt x="1107492" y="1426918"/>
                  <a:pt x="713459" y="1426918"/>
                </a:cubicBezTo>
                <a:cubicBezTo>
                  <a:pt x="319426" y="1426918"/>
                  <a:pt x="0" y="1107492"/>
                  <a:pt x="0" y="713459"/>
                </a:cubicBezTo>
                <a:lnTo>
                  <a:pt x="1" y="713459"/>
                </a:lnTo>
                <a:cubicBezTo>
                  <a:pt x="1" y="319426"/>
                  <a:pt x="319427" y="0"/>
                  <a:pt x="71346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dirty="0">
                <a:solidFill>
                  <a:srgbClr val="FFFFFF"/>
                </a:solidFill>
                <a:cs typeface="Times New Roman" panose="02020603050405020304" pitchFamily="18" charset="0"/>
              </a:rPr>
              <a:t>why</a:t>
            </a:r>
            <a:endParaRPr lang="en-US" altLang="zh-CN" sz="3600" b="1" dirty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  <p:sp>
        <p:nvSpPr>
          <p:cNvPr id="41" name="MH_SubTitle_4"/>
          <p:cNvSpPr/>
          <p:nvPr>
            <p:custDataLst>
              <p:tags r:id="rId4"/>
            </p:custDataLst>
          </p:nvPr>
        </p:nvSpPr>
        <p:spPr>
          <a:xfrm>
            <a:off x="6134101" y="3735390"/>
            <a:ext cx="1427163" cy="1427162"/>
          </a:xfrm>
          <a:custGeom>
            <a:avLst/>
            <a:gdLst>
              <a:gd name="connsiteX0" fmla="*/ 0 w 1426918"/>
              <a:gd name="connsiteY0" fmla="*/ 0 h 1426918"/>
              <a:gd name="connsiteX1" fmla="*/ 713459 w 1426918"/>
              <a:gd name="connsiteY1" fmla="*/ 0 h 1426918"/>
              <a:gd name="connsiteX2" fmla="*/ 1426918 w 1426918"/>
              <a:gd name="connsiteY2" fmla="*/ 713459 h 1426918"/>
              <a:gd name="connsiteX3" fmla="*/ 713459 w 1426918"/>
              <a:gd name="connsiteY3" fmla="*/ 1426918 h 1426918"/>
              <a:gd name="connsiteX4" fmla="*/ 713459 w 1426918"/>
              <a:gd name="connsiteY4" fmla="*/ 1426917 h 1426918"/>
              <a:gd name="connsiteX5" fmla="*/ 0 w 1426918"/>
              <a:gd name="connsiteY5" fmla="*/ 713458 h 142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26918" h="1426918">
                <a:moveTo>
                  <a:pt x="0" y="0"/>
                </a:moveTo>
                <a:lnTo>
                  <a:pt x="713459" y="0"/>
                </a:lnTo>
                <a:cubicBezTo>
                  <a:pt x="1107492" y="0"/>
                  <a:pt x="1426918" y="319426"/>
                  <a:pt x="1426918" y="713459"/>
                </a:cubicBezTo>
                <a:cubicBezTo>
                  <a:pt x="1426918" y="1107492"/>
                  <a:pt x="1107492" y="1426918"/>
                  <a:pt x="713459" y="1426918"/>
                </a:cubicBezTo>
                <a:lnTo>
                  <a:pt x="713459" y="1426917"/>
                </a:lnTo>
                <a:cubicBezTo>
                  <a:pt x="319426" y="1426917"/>
                  <a:pt x="0" y="1107491"/>
                  <a:pt x="0" y="71345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3600" b="1" dirty="0">
                <a:solidFill>
                  <a:srgbClr val="FFFFFF"/>
                </a:solidFill>
                <a:cs typeface="Times New Roman" panose="02020603050405020304" pitchFamily="18" charset="0"/>
              </a:rPr>
              <a:t>how</a:t>
            </a:r>
            <a:endParaRPr lang="en-US" altLang="zh-CN" sz="3600" b="1" dirty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  <p:sp>
        <p:nvSpPr>
          <p:cNvPr id="2055" name="MH_Text_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31536" y="1917702"/>
            <a:ext cx="2028825" cy="181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30000"/>
              </a:lnSpc>
              <a:defRPr/>
            </a:pPr>
            <a:r>
              <a:rPr lang="zh-CN" altLang="en-US" dirty="0">
                <a:latin typeface="+mn-lt"/>
                <a:ea typeface="+mn-ea"/>
              </a:rPr>
              <a:t>根据一定规则</a:t>
            </a:r>
            <a:r>
              <a:rPr lang="en-US" altLang="zh-CN" dirty="0">
                <a:latin typeface="+mn-lt"/>
                <a:ea typeface="+mn-ea"/>
              </a:rPr>
              <a:t>,</a:t>
            </a:r>
            <a:r>
              <a:rPr lang="zh-CN" altLang="en-US" dirty="0">
                <a:latin typeface="+mn-lt"/>
                <a:ea typeface="+mn-ea"/>
              </a:rPr>
              <a:t>自己定义出符合需求功能的</a:t>
            </a:r>
            <a:r>
              <a:rPr lang="en-US" altLang="zh-CN" dirty="0">
                <a:latin typeface="+mn-lt"/>
                <a:ea typeface="+mn-ea"/>
              </a:rPr>
              <a:t>.</a:t>
            </a:r>
            <a:endParaRPr lang="en-US" altLang="zh-CN" dirty="0">
              <a:latin typeface="+mn-lt"/>
              <a:ea typeface="+mn-ea"/>
            </a:endParaRPr>
          </a:p>
        </p:txBody>
      </p:sp>
      <p:sp>
        <p:nvSpPr>
          <p:cNvPr id="2056" name="MH_Text_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31536" y="3779840"/>
            <a:ext cx="2028825" cy="175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30000"/>
              </a:lnSpc>
              <a:defRPr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因为内置的满足不了我们的需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57" name="MH_Text_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696729" y="1637667"/>
            <a:ext cx="2028825" cy="181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30000"/>
              </a:lnSpc>
              <a:defRPr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用在任何你有需求的地方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058" name="MH_Text_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696729" y="3779840"/>
            <a:ext cx="2028825" cy="175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30000"/>
              </a:lnSpc>
              <a:defRPr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同的东西有不同的定义规则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关于自定义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4" name="矩形 3"/>
          <p:cNvSpPr/>
          <p:nvPr/>
        </p:nvSpPr>
        <p:spPr>
          <a:xfrm>
            <a:off x="749935" y="1146810"/>
            <a:ext cx="10374630" cy="2306955"/>
          </a:xfrm>
          <a:prstGeom prst="rect">
            <a:avLst/>
          </a:prstGeom>
          <a:noFill/>
          <a:ln>
            <a:noFill/>
          </a:ln>
        </p:spPr>
        <p:txBody>
          <a:bodyPr wrap="none" rtlCol="0" anchor="t">
            <a:spAutoFit/>
          </a:bodyPr>
          <a:lstStyle/>
          <a:p>
            <a:pPr algn="ctr"/>
            <a:r>
              <a:rPr lang="zh-CN" altLang="en-US" sz="72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目前最最重要的就是</a:t>
            </a:r>
            <a:r>
              <a:rPr lang="en-US" altLang="zh-CN" sz="72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HOW</a:t>
            </a:r>
            <a:endParaRPr lang="en-US" altLang="zh-CN" sz="72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  <a:p>
            <a:pPr algn="ctr"/>
            <a:r>
              <a:rPr lang="zh-CN" altLang="en-US" sz="72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掌握自定义的规则</a:t>
            </a:r>
            <a:r>
              <a:rPr lang="en-US" altLang="zh-CN" sz="72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!!!</a:t>
            </a:r>
            <a:endParaRPr lang="en-US" altLang="zh-CN" sz="72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0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3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6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3" grpId="0" animBg="1"/>
      <p:bldP spid="38" grpId="0" animBg="1"/>
      <p:bldP spid="41" grpId="0" animBg="1"/>
      <p:bldP spid="2055" grpId="0"/>
      <p:bldP spid="2056" grpId="0"/>
      <p:bldP spid="2057" grpId="0"/>
      <p:bldP spid="2058" grpId="0"/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椭圆 9"/>
          <p:cNvSpPr/>
          <p:nvPr/>
        </p:nvSpPr>
        <p:spPr>
          <a:xfrm>
            <a:off x="6186805" y="2160905"/>
            <a:ext cx="2638425" cy="97853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/>
              <a:t>templatetags</a:t>
            </a:r>
            <a:endParaRPr lang="en-US" altLang="zh-CN" sz="2400" b="1"/>
          </a:p>
        </p:txBody>
      </p:sp>
      <p:sp>
        <p:nvSpPr>
          <p:cNvPr id="12" name="文本框 11"/>
          <p:cNvSpPr txBox="1"/>
          <p:nvPr/>
        </p:nvSpPr>
        <p:spPr>
          <a:xfrm>
            <a:off x="6843783" y="3284025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 fontScale="92500" lnSpcReduction="10000"/>
          </a:bodyPr>
          <a:lstStyle/>
          <a:p>
            <a:pPr lvl="0" algn="ctr">
              <a:lnSpc>
                <a:spcPct val="120000"/>
              </a:lnSpc>
            </a:pPr>
            <a:r>
              <a:rPr lang="zh-CN" altLang="en-US" b="1" dirty="0">
                <a:solidFill>
                  <a:schemeClr val="accent3"/>
                </a:solidFill>
              </a:rPr>
              <a:t>存放自定义标签及过滤器的目录</a:t>
            </a:r>
            <a:endParaRPr lang="zh-CN" altLang="en-US" b="1" dirty="0">
              <a:solidFill>
                <a:schemeClr val="accent3"/>
              </a:solidFill>
            </a:endParaRPr>
          </a:p>
        </p:txBody>
      </p:sp>
      <p:sp>
        <p:nvSpPr>
          <p:cNvPr id="16" name="椭圆 15"/>
          <p:cNvSpPr/>
          <p:nvPr/>
        </p:nvSpPr>
        <p:spPr>
          <a:xfrm>
            <a:off x="2494915" y="2305685"/>
            <a:ext cx="2159000" cy="9785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/>
              <a:t>templates</a:t>
            </a:r>
            <a:endParaRPr lang="en-US" altLang="zh-CN" sz="2400" b="1"/>
          </a:p>
        </p:txBody>
      </p:sp>
      <p:sp>
        <p:nvSpPr>
          <p:cNvPr id="18" name="文本框 17"/>
          <p:cNvSpPr txBox="1"/>
          <p:nvPr/>
        </p:nvSpPr>
        <p:spPr>
          <a:xfrm>
            <a:off x="2592555" y="3412131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 dirty="0">
                <a:solidFill>
                  <a:schemeClr val="accent1"/>
                </a:solidFill>
              </a:rPr>
              <a:t>存放模板的目录</a:t>
            </a:r>
            <a:endParaRPr lang="zh-CN" altLang="en-US" b="1" dirty="0">
              <a:solidFill>
                <a:schemeClr val="accent1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文件路径配置</a:t>
            </a:r>
            <a:r>
              <a:rPr lang="en-US" altLang="zh-CN" dirty="0"/>
              <a:t>:</a:t>
            </a:r>
            <a:endParaRPr lang="en-US" altLang="zh-CN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目录结构</a:t>
            </a:r>
            <a:r>
              <a:rPr lang="en-US" altLang="zh-CN" dirty="0"/>
              <a:t>: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3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4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030605" y="1427480"/>
            <a:ext cx="3302635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项目目录下 创建个名为</a:t>
            </a:r>
            <a:r>
              <a:rPr lang="en-US" altLang="zh-CN" sz="1800" dirty="0"/>
              <a:t>common</a:t>
            </a:r>
            <a:r>
              <a:rPr lang="zh-CN" altLang="en-US" sz="1800" dirty="0"/>
              <a:t>的</a:t>
            </a:r>
            <a:r>
              <a:rPr lang="en-US" altLang="zh-CN" sz="1800" dirty="0"/>
              <a:t>Python</a:t>
            </a:r>
            <a:r>
              <a:rPr lang="zh-CN" altLang="en-US" sz="1800" dirty="0"/>
              <a:t>包</a:t>
            </a:r>
            <a:endParaRPr lang="zh-CN" altLang="en-US" sz="1800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0605" y="2056765"/>
            <a:ext cx="3302000" cy="2987040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4592955" y="1427480"/>
            <a:ext cx="3382645" cy="64516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</a:t>
            </a:r>
            <a:r>
              <a:rPr lang="zh-CN" altLang="en-US" sz="1800" dirty="0"/>
              <a:t>将</a:t>
            </a:r>
            <a:r>
              <a:rPr lang="en-US" altLang="zh-CN" sz="1800" dirty="0"/>
              <a:t>common</a:t>
            </a:r>
            <a:r>
              <a:rPr lang="zh-CN" altLang="en-US" sz="1800" dirty="0"/>
              <a:t>加入到</a:t>
            </a:r>
            <a:r>
              <a:rPr lang="en-US" altLang="zh-CN" sz="1800" dirty="0"/>
              <a:t>settings</a:t>
            </a:r>
            <a:r>
              <a:rPr lang="zh-CN" altLang="en-US" sz="1800" dirty="0"/>
              <a:t>文件</a:t>
            </a:r>
            <a:endParaRPr lang="zh-CN" altLang="en-US" sz="1800" dirty="0"/>
          </a:p>
          <a:p>
            <a:r>
              <a:rPr lang="zh-CN" altLang="en-US" sz="1800" dirty="0"/>
              <a:t>中的</a:t>
            </a:r>
            <a:r>
              <a:rPr lang="en-US" altLang="zh-CN" sz="1800" dirty="0"/>
              <a:t>INSTALLED_APP</a:t>
            </a:r>
            <a:r>
              <a:rPr lang="zh-CN" altLang="en-US" sz="1800" dirty="0"/>
              <a:t>列表中</a:t>
            </a:r>
            <a:endParaRPr lang="zh-CN" altLang="en-US" sz="1800" dirty="0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92955" y="2072640"/>
            <a:ext cx="3382645" cy="297243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8235315" y="1377928"/>
            <a:ext cx="3382645" cy="92202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3.</a:t>
            </a:r>
            <a:r>
              <a:rPr lang="zh-CN" altLang="en-US" sz="1800" dirty="0"/>
              <a:t>在</a:t>
            </a:r>
            <a:r>
              <a:rPr lang="en-US" altLang="zh-CN" sz="1800" dirty="0"/>
              <a:t>common</a:t>
            </a:r>
            <a:r>
              <a:rPr lang="zh-CN" altLang="en-US" sz="1800" dirty="0"/>
              <a:t>里面创建</a:t>
            </a:r>
            <a:r>
              <a:rPr lang="zh-CN" altLang="en-US" sz="1800" dirty="0">
                <a:sym typeface="+mn-ea"/>
              </a:rPr>
              <a:t>目录</a:t>
            </a:r>
            <a:r>
              <a:rPr lang="en-US" altLang="zh-CN" sz="1800" dirty="0" smtClean="0"/>
              <a:t>templatetags</a:t>
            </a:r>
            <a:r>
              <a:rPr lang="en-US" altLang="zh-CN" sz="1800" dirty="0"/>
              <a:t>,</a:t>
            </a:r>
            <a:r>
              <a:rPr lang="zh-CN" altLang="en-US" sz="1800" dirty="0"/>
              <a:t>在目录里面</a:t>
            </a:r>
            <a:endParaRPr lang="zh-CN" altLang="en-US" sz="1800" dirty="0"/>
          </a:p>
          <a:p>
            <a:r>
              <a:rPr lang="zh-CN" altLang="en-US" sz="1800" dirty="0"/>
              <a:t>创建自定义过滤器及标签文件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64525" y="2349500"/>
            <a:ext cx="3382645" cy="2694940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1709420" y="5877560"/>
            <a:ext cx="7621270" cy="711200"/>
          </a:xfrm>
          <a:prstGeom prst="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zh-CN" altLang="en-US"/>
              <a:t>注意</a:t>
            </a:r>
            <a:r>
              <a:rPr lang="en-US" altLang="zh-CN"/>
              <a:t>:</a:t>
            </a:r>
            <a:r>
              <a:rPr lang="en-US" altLang="zh-CN" b="1"/>
              <a:t>templatetags</a:t>
            </a:r>
            <a:r>
              <a:rPr lang="zh-CN" altLang="en-US" b="1"/>
              <a:t>这个目录名字是固定的</a:t>
            </a:r>
            <a:r>
              <a:rPr lang="en-US" altLang="zh-CN" b="1"/>
              <a:t>,</a:t>
            </a:r>
            <a:r>
              <a:rPr lang="zh-CN" altLang="en-US" b="1"/>
              <a:t>而里面的模块名是自定义的</a:t>
            </a:r>
            <a:r>
              <a:rPr lang="en-US" altLang="zh-CN" b="1"/>
              <a:t>.</a:t>
            </a:r>
            <a:endParaRPr lang="en-US" altLang="zh-CN" b="1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382270" y="242921"/>
            <a:ext cx="11239500" cy="968375"/>
          </a:xfrm>
        </p:spPr>
        <p:txBody>
          <a:bodyPr/>
          <a:lstStyle/>
          <a:p>
            <a:r>
              <a:rPr lang="zh-CN" altLang="en-US"/>
              <a:t>模板过滤器的分析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3" name="圆角矩形 2"/>
          <p:cNvSpPr/>
          <p:nvPr/>
        </p:nvSpPr>
        <p:spPr>
          <a:xfrm>
            <a:off x="1485265" y="3680460"/>
            <a:ext cx="8693150" cy="1918970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>
                <a:sym typeface="+mn-ea"/>
              </a:rPr>
              <a:t>自定义过滤器就是一个带有一个或两个参数的Python 函数：</a:t>
            </a:r>
            <a:endParaRPr lang="zh-CN" altLang="en-US" sz="2000"/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>
                <a:sym typeface="+mn-ea"/>
              </a:rPr>
              <a:t>- （输入的）变量的值 —— 不一定是字符串形式。</a:t>
            </a:r>
            <a:endParaRPr lang="zh-CN" altLang="en-US" sz="2000"/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>
                <a:sym typeface="+mn-ea"/>
              </a:rPr>
              <a:t>- 参数的值 —— 可以有一个初始值，或者完全不要这个参数。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2849880" y="1645285"/>
            <a:ext cx="5200015" cy="723900"/>
          </a:xfrm>
          <a:prstGeom prst="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800" b="1">
                <a:solidFill>
                  <a:schemeClr val="tx1"/>
                </a:solidFill>
                <a:sym typeface="+mn-ea"/>
              </a:rPr>
              <a:t>{{ var|foo:"bar" }}</a:t>
            </a:r>
            <a:endParaRPr lang="zh-CN" altLang="en-US" sz="2800" b="1">
              <a:solidFill>
                <a:schemeClr val="tx1"/>
              </a:solidFill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3999230" y="2750185"/>
            <a:ext cx="828675" cy="36830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/>
          <a:p>
            <a:r>
              <a:rPr lang="zh-CN" altLang="en-US"/>
              <a:t>变量</a:t>
            </a:r>
            <a:endParaRPr lang="zh-CN" altLang="en-US"/>
          </a:p>
        </p:txBody>
      </p:sp>
      <p:cxnSp>
        <p:nvCxnSpPr>
          <p:cNvPr id="8" name="直接箭头连接符 7"/>
          <p:cNvCxnSpPr/>
          <p:nvPr/>
        </p:nvCxnSpPr>
        <p:spPr>
          <a:xfrm flipV="1">
            <a:off x="4618355" y="2171700"/>
            <a:ext cx="26035" cy="5524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/>
          <p:cNvSpPr txBox="1"/>
          <p:nvPr/>
        </p:nvSpPr>
        <p:spPr>
          <a:xfrm>
            <a:off x="5015230" y="843280"/>
            <a:ext cx="868680" cy="368300"/>
          </a:xfrm>
          <a:prstGeom prst="rect">
            <a:avLst/>
          </a:prstGeom>
          <a:solidFill>
            <a:srgbClr val="E76861"/>
          </a:solidFill>
        </p:spPr>
        <p:txBody>
          <a:bodyPr wrap="none" rtlCol="0">
            <a:spAutoFit/>
          </a:bodyPr>
          <a:lstStyle/>
          <a:p>
            <a:r>
              <a:rPr lang="zh-CN" altLang="en-US"/>
              <a:t>过滤器</a:t>
            </a:r>
            <a:endParaRPr lang="zh-CN" altLang="en-US"/>
          </a:p>
        </p:txBody>
      </p:sp>
      <p:cxnSp>
        <p:nvCxnSpPr>
          <p:cNvPr id="11" name="直接箭头连接符 10"/>
          <p:cNvCxnSpPr/>
          <p:nvPr/>
        </p:nvCxnSpPr>
        <p:spPr>
          <a:xfrm flipH="1">
            <a:off x="5236845" y="1211580"/>
            <a:ext cx="15240" cy="5778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/>
        </p:nvSpPr>
        <p:spPr>
          <a:xfrm>
            <a:off x="5587365" y="2750185"/>
            <a:ext cx="828675" cy="368300"/>
          </a:xfrm>
          <a:prstGeom prst="rect">
            <a:avLst/>
          </a:prstGeom>
          <a:solidFill>
            <a:srgbClr val="E76861"/>
          </a:solidFill>
        </p:spPr>
        <p:txBody>
          <a:bodyPr wrap="square" rtlCol="0">
            <a:spAutoFit/>
          </a:bodyPr>
          <a:lstStyle/>
          <a:p>
            <a:r>
              <a:rPr lang="zh-CN" altLang="en-US"/>
              <a:t>参数</a:t>
            </a:r>
            <a:endParaRPr lang="zh-CN" altLang="en-US"/>
          </a:p>
        </p:txBody>
      </p:sp>
      <p:cxnSp>
        <p:nvCxnSpPr>
          <p:cNvPr id="13" name="直接箭头连接符 12"/>
          <p:cNvCxnSpPr/>
          <p:nvPr/>
        </p:nvCxnSpPr>
        <p:spPr>
          <a:xfrm flipV="1">
            <a:off x="6083300" y="2171700"/>
            <a:ext cx="26035" cy="5524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自定义过滤器的例子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11070" y="2082165"/>
            <a:ext cx="6966585" cy="261302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2210435" y="1713865"/>
            <a:ext cx="69672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/>
              <a:t>在</a:t>
            </a:r>
            <a:r>
              <a:rPr lang="en-US" altLang="zh-CN" sz="1800" dirty="0"/>
              <a:t>common_extras.py</a:t>
            </a:r>
            <a:r>
              <a:rPr lang="zh-CN" altLang="en-US" sz="1800" dirty="0"/>
              <a:t>文件中自定义</a:t>
            </a:r>
            <a:r>
              <a:rPr lang="en-US" altLang="zh-CN" sz="1800" dirty="0"/>
              <a:t>cut</a:t>
            </a:r>
            <a:r>
              <a:rPr lang="zh-CN" altLang="en-US" sz="1800" dirty="0"/>
              <a:t>和</a:t>
            </a:r>
            <a:r>
              <a:rPr lang="en-US" altLang="zh-CN" sz="1800" dirty="0"/>
              <a:t>lower</a:t>
            </a:r>
            <a:r>
              <a:rPr lang="zh-CN" altLang="en-US" sz="1800" dirty="0"/>
              <a:t>的过滤器功能</a:t>
            </a:r>
            <a:endParaRPr lang="en-US" altLang="zh-CN" sz="18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p="http://schemas.openxmlformats.org/presentationml/2006/main">
  <p:tag name="MH" val="20160929232046"/>
  <p:tag name="MH_LIBRARY" val="GRAPHIC"/>
  <p:tag name="MH_TYPE" val="SubTitle"/>
  <p:tag name="MH_ORDER" val="1"/>
</p:tagLst>
</file>

<file path=ppt/tags/tag12.xml><?xml version="1.0" encoding="utf-8"?>
<p:tagLst xmlns:p="http://schemas.openxmlformats.org/presentationml/2006/main">
  <p:tag name="MH" val="20160929232046"/>
  <p:tag name="MH_LIBRARY" val="GRAPHIC"/>
  <p:tag name="MH_TYPE" val="SubTitle"/>
  <p:tag name="MH_ORDER" val="2"/>
</p:tagLst>
</file>

<file path=ppt/tags/tag13.xml><?xml version="1.0" encoding="utf-8"?>
<p:tagLst xmlns:p="http://schemas.openxmlformats.org/presentationml/2006/main">
  <p:tag name="MH" val="20160929232046"/>
  <p:tag name="MH_LIBRARY" val="GRAPHIC"/>
  <p:tag name="MH_TYPE" val="SubTitle"/>
  <p:tag name="MH_ORDER" val="3"/>
</p:tagLst>
</file>

<file path=ppt/tags/tag14.xml><?xml version="1.0" encoding="utf-8"?>
<p:tagLst xmlns:p="http://schemas.openxmlformats.org/presentationml/2006/main">
  <p:tag name="MH" val="20160929232046"/>
  <p:tag name="MH_LIBRARY" val="GRAPHIC"/>
  <p:tag name="MH_TYPE" val="SubTitle"/>
  <p:tag name="MH_ORDER" val="4"/>
</p:tagLst>
</file>

<file path=ppt/tags/tag15.xml><?xml version="1.0" encoding="utf-8"?>
<p:tagLst xmlns:p="http://schemas.openxmlformats.org/presentationml/2006/main">
  <p:tag name="MH" val="20160929232046"/>
  <p:tag name="MH_LIBRARY" val="GRAPHIC"/>
  <p:tag name="MH_TYPE" val="Text"/>
  <p:tag name="MH_ORDER" val="1"/>
</p:tagLst>
</file>

<file path=ppt/tags/tag16.xml><?xml version="1.0" encoding="utf-8"?>
<p:tagLst xmlns:p="http://schemas.openxmlformats.org/presentationml/2006/main">
  <p:tag name="MH" val="20160929232046"/>
  <p:tag name="MH_LIBRARY" val="GRAPHIC"/>
  <p:tag name="MH_TYPE" val="Text"/>
  <p:tag name="MH_ORDER" val="3"/>
</p:tagLst>
</file>

<file path=ppt/tags/tag17.xml><?xml version="1.0" encoding="utf-8"?>
<p:tagLst xmlns:p="http://schemas.openxmlformats.org/presentationml/2006/main">
  <p:tag name="MH" val="20160929232046"/>
  <p:tag name="MH_LIBRARY" val="GRAPHIC"/>
  <p:tag name="MH_TYPE" val="Text"/>
  <p:tag name="MH_ORDER" val="2"/>
</p:tagLst>
</file>

<file path=ppt/tags/tag18.xml><?xml version="1.0" encoding="utf-8"?>
<p:tagLst xmlns:p="http://schemas.openxmlformats.org/presentationml/2006/main">
  <p:tag name="MH" val="20160929232046"/>
  <p:tag name="MH_LIBRARY" val="GRAPHIC"/>
  <p:tag name="MH_TYPE" val="Text"/>
  <p:tag name="MH_ORDER" val="4"/>
</p:tagLst>
</file>

<file path=ppt/tags/tag19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9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5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1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7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68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9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1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2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3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74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7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7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7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7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79.xml><?xml version="1.0" encoding="utf-8"?>
<p:tagLst xmlns:p="http://schemas.openxmlformats.org/presentationml/2006/main">
  <p:tag name="THINKCELLSHAPEDONOTDELETE" val="pKOZHO13yzUCaepRpRzBw5w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86</Words>
  <Application>WPS 演示</Application>
  <PresentationFormat>宽屏</PresentationFormat>
  <Paragraphs>226</Paragraphs>
  <Slides>19</Slides>
  <Notes>18</Notes>
  <HiddenSlides>0</HiddenSlides>
  <MMClips>0</MMClips>
  <ScaleCrop>false</ScaleCrop>
  <HeadingPairs>
    <vt:vector size="6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37" baseType="lpstr">
      <vt:lpstr>Arial</vt:lpstr>
      <vt:lpstr>宋体</vt:lpstr>
      <vt:lpstr>Wingdings</vt:lpstr>
      <vt:lpstr>微软雅黑</vt:lpstr>
      <vt:lpstr>Kozuka Gothic Pr6N B</vt:lpstr>
      <vt:lpstr>Calibri</vt:lpstr>
      <vt:lpstr>Adobe Gothic Std B</vt:lpstr>
      <vt:lpstr>Arial Unicode MS</vt:lpstr>
      <vt:lpstr>Times New Roman</vt:lpstr>
      <vt:lpstr>Calibri</vt:lpstr>
      <vt:lpstr>Arial Narrow</vt:lpstr>
      <vt:lpstr>黑体</vt:lpstr>
      <vt:lpstr>Narkisim</vt:lpstr>
      <vt:lpstr>Calibri Light</vt:lpstr>
      <vt:lpstr>Arial Unicode MS</vt:lpstr>
      <vt:lpstr>Yu Gothic UI Semibold</vt:lpstr>
      <vt:lpstr>Segoe Print</vt:lpstr>
      <vt:lpstr>Office 主题</vt:lpstr>
      <vt:lpstr>Django框架</vt:lpstr>
      <vt:lpstr>知识回顾:</vt:lpstr>
      <vt:lpstr>PowerPoint 演示文稿</vt:lpstr>
      <vt:lpstr>自定义的引入:</vt:lpstr>
      <vt:lpstr>关于自定义:</vt:lpstr>
      <vt:lpstr>文件路径配置:</vt:lpstr>
      <vt:lpstr>目录结构:</vt:lpstr>
      <vt:lpstr>模板过滤器的分析:</vt:lpstr>
      <vt:lpstr>自定义过滤器的例子:</vt:lpstr>
      <vt:lpstr>注册自定义过滤器:</vt:lpstr>
      <vt:lpstr>注册自定义过滤器:</vt:lpstr>
      <vt:lpstr>使用自定义过滤器:</vt:lpstr>
      <vt:lpstr>自定义标签:</vt:lpstr>
      <vt:lpstr>自定义简单标签的例子:</vt:lpstr>
      <vt:lpstr>自定义包含标签的例子:</vt:lpstr>
      <vt:lpstr>自定义包含标签的例子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塔卡老师</cp:lastModifiedBy>
  <cp:revision>174</cp:revision>
  <dcterms:created xsi:type="dcterms:W3CDTF">2016-11-22T14:17:00Z</dcterms:created>
  <dcterms:modified xsi:type="dcterms:W3CDTF">2018-11-01T12:0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69</vt:lpwstr>
  </property>
</Properties>
</file>